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61" r:id="rId1"/>
    <p:sldMasterId id="2147483966" r:id="rId2"/>
    <p:sldMasterId id="2147484176" r:id="rId3"/>
  </p:sldMasterIdLst>
  <p:notesMasterIdLst>
    <p:notesMasterId r:id="rId6"/>
  </p:notesMasterIdLst>
  <p:handoutMasterIdLst>
    <p:handoutMasterId r:id="rId7"/>
  </p:handoutMasterIdLst>
  <p:sldIdLst>
    <p:sldId id="1085" r:id="rId4"/>
    <p:sldId id="1084" r:id="rId5"/>
  </p:sldIdLst>
  <p:sldSz cx="12192000" cy="6858000"/>
  <p:notesSz cx="6797675" cy="99298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16">
          <p15:clr>
            <a:srgbClr val="A4A3A4"/>
          </p15:clr>
        </p15:guide>
        <p15:guide id="2" pos="385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990033"/>
    <a:srgbClr val="AED494"/>
    <a:srgbClr val="00A200"/>
    <a:srgbClr val="006600"/>
    <a:srgbClr val="800000"/>
    <a:srgbClr val="FF6600"/>
    <a:srgbClr val="CC9900"/>
    <a:srgbClr val="C7C7C7"/>
    <a:srgbClr val="00B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37" autoAdjust="0"/>
    <p:restoredTop sz="98894" autoAdjust="0"/>
  </p:normalViewPr>
  <p:slideViewPr>
    <p:cSldViewPr snapToGrid="0">
      <p:cViewPr varScale="1">
        <p:scale>
          <a:sx n="112" d="100"/>
          <a:sy n="112" d="100"/>
        </p:scale>
        <p:origin x="714" y="114"/>
      </p:cViewPr>
      <p:guideLst>
        <p:guide orient="horz" pos="2116"/>
        <p:guide pos="38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2491801972412833E-2"/>
          <c:y val="1.8985788784393401E-2"/>
          <c:w val="0.93879289037077185"/>
          <c:h val="0.4210958442316568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0253568"/>
        <c:axId val="110255104"/>
      </c:lineChart>
      <c:catAx>
        <c:axId val="110253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0255104"/>
        <c:crosses val="autoZero"/>
        <c:auto val="1"/>
        <c:lblAlgn val="ctr"/>
        <c:lblOffset val="100"/>
        <c:noMultiLvlLbl val="0"/>
      </c:catAx>
      <c:valAx>
        <c:axId val="110255104"/>
        <c:scaling>
          <c:orientation val="minMax"/>
          <c:max val="120"/>
          <c:min val="90"/>
        </c:scaling>
        <c:delete val="1"/>
        <c:axPos val="l"/>
        <c:numFmt formatCode="General" sourceLinked="1"/>
        <c:majorTickMark val="none"/>
        <c:minorTickMark val="none"/>
        <c:tickLblPos val="nextTo"/>
        <c:crossAx val="11025356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"/>
          <c:y val="0.87660439112507604"/>
          <c:w val="1"/>
          <c:h val="0.10993236076971381"/>
        </c:manualLayout>
      </c:layout>
      <c:overlay val="0"/>
    </c:legend>
    <c:plotVisOnly val="1"/>
    <c:dispBlanksAs val="gap"/>
    <c:showDLblsOverMax val="0"/>
  </c:chart>
  <c:spPr>
    <a:noFill/>
    <a:ln w="0">
      <a:noFill/>
    </a:ln>
  </c:spPr>
  <c:txPr>
    <a:bodyPr/>
    <a:lstStyle/>
    <a:p>
      <a:pPr>
        <a:defRPr sz="1800">
          <a:solidFill>
            <a:schemeClr val="accent4"/>
          </a:solidFill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2491801972412833E-2"/>
          <c:y val="1.8985788784393401E-2"/>
          <c:w val="0.93879289037077185"/>
          <c:h val="0.4210958442316568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0253568"/>
        <c:axId val="110255104"/>
      </c:lineChart>
      <c:catAx>
        <c:axId val="1102535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0255104"/>
        <c:crosses val="autoZero"/>
        <c:auto val="1"/>
        <c:lblAlgn val="ctr"/>
        <c:lblOffset val="100"/>
        <c:noMultiLvlLbl val="0"/>
      </c:catAx>
      <c:valAx>
        <c:axId val="110255104"/>
        <c:scaling>
          <c:orientation val="minMax"/>
          <c:max val="120"/>
          <c:min val="90"/>
        </c:scaling>
        <c:delete val="1"/>
        <c:axPos val="l"/>
        <c:numFmt formatCode="General" sourceLinked="1"/>
        <c:majorTickMark val="none"/>
        <c:minorTickMark val="none"/>
        <c:tickLblPos val="nextTo"/>
        <c:crossAx val="11025356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"/>
          <c:y val="0.87660439112507604"/>
          <c:w val="1"/>
          <c:h val="0.10993236076971381"/>
        </c:manualLayout>
      </c:layout>
      <c:overlay val="0"/>
    </c:legend>
    <c:plotVisOnly val="1"/>
    <c:dispBlanksAs val="gap"/>
    <c:showDLblsOverMax val="0"/>
  </c:chart>
  <c:spPr>
    <a:noFill/>
    <a:ln w="0">
      <a:noFill/>
    </a:ln>
  </c:spPr>
  <c:txPr>
    <a:bodyPr/>
    <a:lstStyle/>
    <a:p>
      <a:pPr>
        <a:defRPr sz="1800">
          <a:solidFill>
            <a:schemeClr val="accent4"/>
          </a:solidFill>
        </a:defRPr>
      </a:pPr>
      <a:endParaRPr lang="ru-RU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4"/>
            <a:ext cx="2946351" cy="496254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40" y="4"/>
            <a:ext cx="2946351" cy="496254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BC203BD9-EB2E-4F57-962B-E469779CEFB7}" type="datetimeFigureOut">
              <a:rPr lang="ru-RU" smtClean="0"/>
              <a:t>01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9431985"/>
            <a:ext cx="2946351" cy="496253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40" y="9431985"/>
            <a:ext cx="2946351" cy="496253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95D033D4-957B-4589-849F-05AC02CD5F4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978716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9"/>
            <a:ext cx="2945659" cy="49863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2" y="9"/>
            <a:ext cx="2945659" cy="49863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F87A0A6-D1A9-4AA0-9020-20FDE50DC583}" type="datetimeFigureOut">
              <a:rPr lang="ru-RU"/>
              <a:pPr>
                <a:defRPr/>
              </a:pPr>
              <a:t>01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39838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8321"/>
            <a:ext cx="5438140" cy="3909677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9" y="9431186"/>
            <a:ext cx="2945659" cy="498635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2" y="9431186"/>
            <a:ext cx="2945659" cy="498635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B76B9CF-F16D-4F89-B690-46B4E292A9F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1942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351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050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Прямая соединительная линия 4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cxnSp>
        <p:nvCxnSpPr>
          <p:cNvPr id="21" name="Straight Connector 9"/>
          <p:cNvCxnSpPr/>
          <p:nvPr/>
        </p:nvCxnSpPr>
        <p:spPr>
          <a:xfrm>
            <a:off x="0" y="9779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472863" y="6453188"/>
            <a:ext cx="719137" cy="338137"/>
          </a:xfrm>
          <a:prstGeom prst="rect">
            <a:avLst/>
          </a:prstGeom>
          <a:noFill/>
        </p:spPr>
        <p:txBody>
          <a:bodyPr lIns="121917" tIns="60958" rIns="121917" bIns="60958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fld id="{746D0519-EE10-41F6-806A-5CEC55F05134}" type="slidenum">
              <a:rPr lang="ru-RU" smtClean="0">
                <a:solidFill>
                  <a:srgbClr val="000000"/>
                </a:solidFill>
              </a:rPr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" y="84682"/>
            <a:ext cx="12191988" cy="734047"/>
          </a:xfrm>
        </p:spPr>
        <p:txBody>
          <a:bodyPr/>
          <a:lstStyle>
            <a:lvl1pPr>
              <a:defRPr sz="5300">
                <a:solidFill>
                  <a:srgbClr val="000000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389667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2090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244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1759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bg>
      <p:bgPr>
        <a:gradFill flip="none" rotWithShape="1">
          <a:gsLst>
            <a:gs pos="0">
              <a:schemeClr val="bg1"/>
            </a:gs>
            <a:gs pos="49000">
              <a:srgbClr val="B2D0EC"/>
            </a:gs>
            <a:gs pos="10000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661" b="96310" l="1167" r="99167">
                        <a14:foregroundMark x1="44167" y1="12915" x2="44167" y2="12915"/>
                        <a14:foregroundMark x1="40833" y1="4613" x2="40833" y2="4613"/>
                        <a14:foregroundMark x1="65000" y1="6273" x2="65000" y2="6273"/>
                        <a14:foregroundMark x1="64333" y1="1476" x2="64333" y2="1476"/>
                        <a14:foregroundMark x1="8333" y1="36716" x2="8333" y2="36716"/>
                        <a14:foregroundMark x1="17333" y1="46310" x2="17333" y2="46310"/>
                        <a14:foregroundMark x1="39333" y1="15498" x2="39333" y2="15498"/>
                        <a14:foregroundMark x1="39333" y1="15498" x2="39333" y2="15498"/>
                        <a14:foregroundMark x1="39333" y1="15498" x2="39333" y2="15498"/>
                        <a14:foregroundMark x1="43167" y1="17343" x2="43167" y2="17343"/>
                        <a14:foregroundMark x1="43500" y1="17528" x2="43500" y2="17528"/>
                        <a14:foregroundMark x1="45167" y1="18266" x2="45167" y2="18266"/>
                        <a14:foregroundMark x1="47333" y1="19004" x2="47333" y2="19004"/>
                        <a14:foregroundMark x1="49667" y1="19188" x2="49667" y2="19188"/>
                        <a14:foregroundMark x1="52667" y1="19557" x2="52667" y2="19557"/>
                        <a14:foregroundMark x1="54500" y1="19742" x2="54500" y2="19742"/>
                        <a14:foregroundMark x1="55833" y1="20295" x2="55833" y2="20295"/>
                        <a14:foregroundMark x1="58167" y1="20480" x2="58167" y2="20480"/>
                        <a14:foregroundMark x1="61167" y1="20480" x2="61167" y2="20480"/>
                        <a14:foregroundMark x1="62500" y1="20480" x2="62500" y2="20480"/>
                        <a14:foregroundMark x1="64500" y1="20111" x2="64500" y2="20111"/>
                        <a14:foregroundMark x1="66000" y1="19373" x2="66000" y2="19373"/>
                        <a14:foregroundMark x1="67333" y1="19004" x2="67333" y2="19004"/>
                        <a14:foregroundMark x1="68500" y1="18819" x2="68500" y2="18819"/>
                        <a14:foregroundMark x1="69500" y1="18266" x2="69500" y2="18266"/>
                        <a14:foregroundMark x1="70667" y1="17712" x2="70667" y2="17712"/>
                        <a14:foregroundMark x1="71167" y1="17528" x2="71167" y2="17528"/>
                        <a14:foregroundMark x1="71833" y1="17343" x2="71833" y2="16605"/>
                        <a14:foregroundMark x1="72000" y1="14945" x2="71833" y2="13469"/>
                        <a14:foregroundMark x1="71000" y1="10886" x2="70500" y2="9963"/>
                        <a14:foregroundMark x1="69500" y1="8118" x2="68833" y2="6458"/>
                        <a14:foregroundMark x1="68000" y1="5166" x2="67500" y2="4797"/>
                        <a14:foregroundMark x1="67167" y1="4244" x2="67167" y2="4244"/>
                        <a14:foregroundMark x1="66500" y1="4059" x2="66500" y2="4059"/>
                        <a14:foregroundMark x1="66167" y1="4059" x2="66167" y2="4059"/>
                        <a14:foregroundMark x1="64833" y1="2399" x2="64833" y2="2399"/>
                        <a14:foregroundMark x1="65000" y1="2399" x2="65000" y2="2399"/>
                        <a14:foregroundMark x1="73667" y1="14022" x2="73667" y2="14022"/>
                        <a14:foregroundMark x1="76000" y1="30996" x2="76000" y2="30996"/>
                        <a14:foregroundMark x1="75667" y1="31734" x2="75667" y2="31734"/>
                        <a14:foregroundMark x1="75667" y1="31734" x2="75667" y2="31734"/>
                        <a14:foregroundMark x1="75500" y1="30996" x2="75500" y2="30996"/>
                        <a14:foregroundMark x1="74500" y1="29889" x2="74500" y2="29889"/>
                        <a14:foregroundMark x1="73000" y1="29889" x2="72167" y2="29889"/>
                        <a14:foregroundMark x1="70833" y1="30812" x2="70333" y2="31181"/>
                        <a14:foregroundMark x1="69333" y1="31734" x2="69333" y2="31734"/>
                        <a14:foregroundMark x1="69000" y1="32103" x2="69000" y2="32103"/>
                        <a14:foregroundMark x1="68667" y1="31919" x2="68667" y2="31919"/>
                        <a14:foregroundMark x1="68500" y1="31919" x2="68500" y2="31919"/>
                        <a14:foregroundMark x1="70167" y1="26384" x2="70667" y2="24539"/>
                        <a14:foregroundMark x1="70667" y1="24539" x2="70667" y2="24539"/>
                        <a14:foregroundMark x1="71000" y1="24170" x2="71000" y2="24170"/>
                        <a14:foregroundMark x1="71500" y1="23616" x2="72167" y2="22878"/>
                        <a14:foregroundMark x1="72833" y1="22325" x2="73833" y2="20480"/>
                        <a14:foregroundMark x1="74000" y1="20295" x2="74333" y2="19557"/>
                        <a14:foregroundMark x1="74500" y1="19188" x2="74500" y2="19188"/>
                        <a14:foregroundMark x1="75000" y1="19188" x2="74667" y2="20295"/>
                        <a14:foregroundMark x1="74500" y1="24539" x2="74500" y2="24539"/>
                        <a14:foregroundMark x1="75167" y1="24539" x2="75167" y2="24539"/>
                        <a14:foregroundMark x1="75833" y1="24723" x2="75833" y2="24723"/>
                        <a14:foregroundMark x1="76000" y1="25646" x2="76000" y2="26199"/>
                        <a14:foregroundMark x1="76000" y1="27306" x2="76000" y2="28044"/>
                        <a14:foregroundMark x1="75333" y1="30812" x2="75000" y2="32472"/>
                        <a14:foregroundMark x1="74500" y1="34686" x2="74500" y2="36347"/>
                        <a14:foregroundMark x1="74500" y1="37454" x2="74500" y2="38376"/>
                        <a14:foregroundMark x1="74500" y1="39668" x2="74500" y2="40590"/>
                        <a14:foregroundMark x1="74500" y1="41328" x2="74500" y2="41882"/>
                        <a14:foregroundMark x1="74500" y1="42620" x2="74667" y2="43542"/>
                        <a14:foregroundMark x1="74667" y1="43911" x2="74667" y2="44465"/>
                        <a14:foregroundMark x1="74667" y1="45018" x2="74667" y2="45018"/>
                        <a14:foregroundMark x1="75167" y1="45572" x2="75167" y2="46125"/>
                        <a14:foregroundMark x1="75167" y1="46863" x2="75000" y2="47417"/>
                        <a14:foregroundMark x1="74333" y1="47970" x2="74333" y2="47970"/>
                        <a14:foregroundMark x1="74167" y1="48708" x2="74167" y2="48708"/>
                        <a14:foregroundMark x1="73833" y1="49077" x2="73833" y2="49077"/>
                        <a14:foregroundMark x1="73500" y1="49446" x2="73500" y2="49446"/>
                        <a14:foregroundMark x1="72500" y1="49631" x2="72500" y2="49631"/>
                        <a14:foregroundMark x1="72333" y1="49815" x2="71167" y2="50369"/>
                        <a14:foregroundMark x1="69667" y1="50369" x2="68000" y2="50185"/>
                        <a14:foregroundMark x1="67500" y1="49815" x2="67500" y2="49815"/>
                        <a14:foregroundMark x1="66500" y1="49631" x2="66500" y2="49631"/>
                        <a14:foregroundMark x1="64833" y1="48893" x2="64833" y2="48893"/>
                        <a14:foregroundMark x1="63167" y1="47601" x2="63167" y2="47601"/>
                        <a14:foregroundMark x1="62333" y1="46310" x2="62333" y2="46310"/>
                        <a14:foregroundMark x1="61333" y1="45387" x2="61333" y2="45387"/>
                        <a14:foregroundMark x1="60167" y1="43911" x2="59167" y2="42804"/>
                        <a14:foregroundMark x1="58167" y1="42066" x2="55167" y2="40406"/>
                        <a14:foregroundMark x1="52500" y1="38561" x2="43833" y2="34871"/>
                        <a14:foregroundMark x1="42000" y1="34686" x2="37833" y2="35424"/>
                        <a14:foregroundMark x1="35500" y1="35978" x2="33333" y2="36347"/>
                        <a14:foregroundMark x1="32000" y1="36347" x2="30167" y2="36716"/>
                        <a14:foregroundMark x1="28667" y1="36900" x2="27167" y2="38007"/>
                        <a14:foregroundMark x1="26000" y1="38007" x2="24500" y2="38376"/>
                        <a14:foregroundMark x1="23333" y1="38007" x2="22167" y2="37269"/>
                        <a14:foregroundMark x1="20833" y1="36347" x2="19500" y2="36347"/>
                        <a14:foregroundMark x1="18167" y1="36347" x2="17667" y2="36347"/>
                        <a14:foregroundMark x1="17000" y1="36347" x2="16333" y2="36347"/>
                        <a14:foregroundMark x1="15500" y1="36162" x2="14500" y2="36162"/>
                        <a14:foregroundMark x1="13500" y1="35978" x2="13500" y2="35978"/>
                        <a14:foregroundMark x1="12167" y1="35240" x2="11667" y2="34686"/>
                        <a14:foregroundMark x1="11333" y1="33948" x2="10667" y2="33395"/>
                        <a14:foregroundMark x1="10333" y1="32841" x2="10333" y2="32841"/>
                        <a14:foregroundMark x1="9667" y1="32472" x2="8500" y2="32472"/>
                        <a14:foregroundMark x1="6333" y1="33026" x2="6167" y2="33948"/>
                        <a14:foregroundMark x1="67500" y1="93173" x2="67500" y2="93173"/>
                        <a14:foregroundMark x1="14667" y1="96310" x2="14667" y2="96310"/>
                        <a14:backgroundMark x1="73833" y1="50554" x2="73833" y2="50554"/>
                        <a14:backgroundMark x1="75333" y1="49262" x2="75333" y2="49262"/>
                        <a14:backgroundMark x1="4500" y1="41882" x2="4500" y2="41882"/>
                        <a14:backgroundMark x1="7167" y1="31734" x2="7167" y2="31734"/>
                        <a14:backgroundMark x1="17667" y1="35055" x2="17667" y2="35055"/>
                        <a14:backgroundMark x1="21167" y1="37823" x2="21167" y2="37823"/>
                        <a14:backgroundMark x1="14833" y1="32657" x2="14833" y2="32657"/>
                        <a14:backgroundMark x1="12500" y1="31181" x2="12500" y2="31181"/>
                        <a14:backgroundMark x1="10500" y1="31181" x2="10500" y2="31181"/>
                        <a14:backgroundMark x1="74500" y1="49262" x2="74500" y2="49262"/>
                        <a14:backgroundMark x1="72833" y1="50738" x2="72833" y2="50738"/>
                        <a14:backgroundMark x1="71833" y1="51476" x2="71833" y2="51476"/>
                        <a14:backgroundMark x1="71833" y1="51476" x2="72333" y2="51107"/>
                        <a14:backgroundMark x1="76833" y1="47048" x2="76833" y2="47048"/>
                        <a14:backgroundMark x1="5167" y1="33395" x2="5167" y2="33395"/>
                        <a14:backgroundMark x1="5667" y1="34317" x2="5667" y2="34317"/>
                        <a14:backgroundMark x1="5667" y1="34871" x2="5667" y2="34871"/>
                        <a14:backgroundMark x1="5333" y1="35240" x2="5333" y2="35240"/>
                        <a14:backgroundMark x1="4667" y1="35609" x2="4667" y2="35609"/>
                        <a14:backgroundMark x1="3833" y1="36347" x2="3833" y2="36347"/>
                        <a14:backgroundMark x1="5833" y1="33764" x2="5833" y2="33764"/>
                        <a14:backgroundMark x1="6500" y1="32657" x2="6500" y2="32657"/>
                        <a14:backgroundMark x1="6833" y1="32103" x2="6833" y2="32103"/>
                        <a14:backgroundMark x1="7333" y1="31365" x2="7333" y2="31365"/>
                        <a14:backgroundMark x1="7500" y1="31365" x2="7500" y2="31365"/>
                        <a14:backgroundMark x1="15333" y1="32657" x2="15333" y2="32657"/>
                        <a14:backgroundMark x1="16500" y1="32472" x2="16500" y2="32472"/>
                        <a14:backgroundMark x1="18500" y1="32841" x2="18500" y2="32841"/>
                        <a14:backgroundMark x1="19167" y1="33579" x2="19167" y2="33579"/>
                        <a14:backgroundMark x1="19667" y1="33764" x2="19667" y2="33764"/>
                        <a14:backgroundMark x1="20500" y1="34502" x2="20500" y2="34502"/>
                        <a14:backgroundMark x1="21333" y1="34686" x2="21333" y2="34686"/>
                        <a14:backgroundMark x1="21500" y1="34871" x2="21500" y2="34871"/>
                        <a14:backgroundMark x1="21833" y1="35978" x2="21833" y2="35978"/>
                        <a14:backgroundMark x1="22167" y1="35978" x2="22167" y2="35978"/>
                        <a14:backgroundMark x1="24667" y1="36162" x2="24667" y2="36162"/>
                        <a14:backgroundMark x1="25000" y1="36162" x2="25000" y2="36162"/>
                        <a14:backgroundMark x1="23333" y1="35240" x2="23333" y2="35240"/>
                        <a14:backgroundMark x1="24167" y1="34871" x2="24167" y2="34871"/>
                        <a14:backgroundMark x1="24667" y1="34686" x2="24667" y2="34686"/>
                        <a14:backgroundMark x1="25333" y1="34317" x2="25333" y2="34317"/>
                        <a14:backgroundMark x1="74333" y1="48524" x2="74333" y2="48524"/>
                        <a14:backgroundMark x1="74000" y1="49446" x2="74000" y2="49446"/>
                        <a14:backgroundMark x1="72333" y1="51107" x2="72833" y2="50923"/>
                        <a14:backgroundMark x1="75167" y1="49077" x2="75167" y2="49077"/>
                        <a14:backgroundMark x1="76500" y1="47601" x2="76500" y2="47601"/>
                        <a14:backgroundMark x1="77167" y1="46679" x2="77167" y2="46679"/>
                        <a14:backgroundMark x1="77333" y1="46310" x2="77333" y2="46310"/>
                      </a14:backgroundRemoval>
                    </a14:imgEffect>
                    <a14:imgEffect>
                      <a14:artisticPastelsSmooth/>
                    </a14:imgEffect>
                    <a14:imgEffect>
                      <a14:sharpenSoften amount="-12000"/>
                    </a14:imgEffect>
                    <a14:imgEffect>
                      <a14:colorTemperature colorTemp="4875"/>
                    </a14:imgEffect>
                    <a14:imgEffect>
                      <a14:brightnessContrast bright="35000" contras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0681" y="1784316"/>
            <a:ext cx="7488832" cy="50736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Группа 6"/>
          <p:cNvGrpSpPr/>
          <p:nvPr userDrawn="1"/>
        </p:nvGrpSpPr>
        <p:grpSpPr>
          <a:xfrm>
            <a:off x="0" y="-100524"/>
            <a:ext cx="12192000" cy="1003984"/>
            <a:chOff x="0" y="-100524"/>
            <a:chExt cx="9144000" cy="100398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0"/>
              <a:ext cx="9144000" cy="836712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6738" b="96809" l="2956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383" y="-100524"/>
              <a:ext cx="723091" cy="1003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1115616" y="0"/>
              <a:ext cx="0" cy="83671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562182" y="125968"/>
              <a:ext cx="71142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b="1" dirty="0">
                  <a:solidFill>
                    <a:prstClr val="white"/>
                  </a:solidFill>
                  <a:latin typeface="Calibri"/>
                  <a:cs typeface="+mn-cs"/>
                </a:rPr>
                <a:t>РАБОТА АДМИНИСТРАЦИИ ЛИПЕЦКОЙ ОБЛАСТИ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>
                  <a:solidFill>
                    <a:prstClr val="white"/>
                  </a:solidFill>
                  <a:latin typeface="Calibri"/>
                  <a:cs typeface="+mn-cs"/>
                </a:rPr>
                <a:t>ОСНОВНЫЕ ЦИФРЫ И ФАКТЫ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610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bg>
      <p:bgPr>
        <a:gradFill flip="none" rotWithShape="1">
          <a:gsLst>
            <a:gs pos="0">
              <a:srgbClr val="B2D0EC"/>
            </a:gs>
            <a:gs pos="49000">
              <a:schemeClr val="bg1"/>
            </a:gs>
            <a:gs pos="100000">
              <a:srgbClr val="B2D0EC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661" b="96310" l="1167" r="99167">
                        <a14:foregroundMark x1="44167" y1="12915" x2="44167" y2="12915"/>
                        <a14:foregroundMark x1="40833" y1="4613" x2="40833" y2="4613"/>
                        <a14:foregroundMark x1="65000" y1="6273" x2="65000" y2="6273"/>
                        <a14:foregroundMark x1="64333" y1="1476" x2="64333" y2="1476"/>
                        <a14:foregroundMark x1="8333" y1="36716" x2="8333" y2="36716"/>
                        <a14:foregroundMark x1="17333" y1="46310" x2="17333" y2="46310"/>
                        <a14:foregroundMark x1="39333" y1="15498" x2="39333" y2="15498"/>
                        <a14:foregroundMark x1="39333" y1="15498" x2="39333" y2="15498"/>
                        <a14:foregroundMark x1="39333" y1="15498" x2="39333" y2="15498"/>
                        <a14:foregroundMark x1="43167" y1="17343" x2="43167" y2="17343"/>
                        <a14:foregroundMark x1="43500" y1="17528" x2="43500" y2="17528"/>
                        <a14:foregroundMark x1="45167" y1="18266" x2="45167" y2="18266"/>
                        <a14:foregroundMark x1="47333" y1="19004" x2="47333" y2="19004"/>
                        <a14:foregroundMark x1="49667" y1="19188" x2="49667" y2="19188"/>
                        <a14:foregroundMark x1="52667" y1="19557" x2="52667" y2="19557"/>
                        <a14:foregroundMark x1="54500" y1="19742" x2="54500" y2="19742"/>
                        <a14:foregroundMark x1="55833" y1="20295" x2="55833" y2="20295"/>
                        <a14:foregroundMark x1="58167" y1="20480" x2="58167" y2="20480"/>
                        <a14:foregroundMark x1="61167" y1="20480" x2="61167" y2="20480"/>
                        <a14:foregroundMark x1="62500" y1="20480" x2="62500" y2="20480"/>
                        <a14:foregroundMark x1="64500" y1="20111" x2="64500" y2="20111"/>
                        <a14:foregroundMark x1="66000" y1="19373" x2="66000" y2="19373"/>
                        <a14:foregroundMark x1="67333" y1="19004" x2="67333" y2="19004"/>
                        <a14:foregroundMark x1="68500" y1="18819" x2="68500" y2="18819"/>
                        <a14:foregroundMark x1="69500" y1="18266" x2="69500" y2="18266"/>
                        <a14:foregroundMark x1="70667" y1="17712" x2="70667" y2="17712"/>
                        <a14:foregroundMark x1="71167" y1="17528" x2="71167" y2="17528"/>
                        <a14:foregroundMark x1="71833" y1="17343" x2="71833" y2="16605"/>
                        <a14:foregroundMark x1="72000" y1="14945" x2="71833" y2="13469"/>
                        <a14:foregroundMark x1="71000" y1="10886" x2="70500" y2="9963"/>
                        <a14:foregroundMark x1="69500" y1="8118" x2="68833" y2="6458"/>
                        <a14:foregroundMark x1="68000" y1="5166" x2="67500" y2="4797"/>
                        <a14:foregroundMark x1="67167" y1="4244" x2="67167" y2="4244"/>
                        <a14:foregroundMark x1="66500" y1="4059" x2="66500" y2="4059"/>
                        <a14:foregroundMark x1="66167" y1="4059" x2="66167" y2="4059"/>
                        <a14:foregroundMark x1="64833" y1="2399" x2="64833" y2="2399"/>
                        <a14:foregroundMark x1="65000" y1="2399" x2="65000" y2="2399"/>
                        <a14:foregroundMark x1="73667" y1="14022" x2="73667" y2="14022"/>
                        <a14:foregroundMark x1="76000" y1="30996" x2="76000" y2="30996"/>
                        <a14:foregroundMark x1="75667" y1="31734" x2="75667" y2="31734"/>
                        <a14:foregroundMark x1="75667" y1="31734" x2="75667" y2="31734"/>
                        <a14:foregroundMark x1="75500" y1="30996" x2="75500" y2="30996"/>
                        <a14:foregroundMark x1="74500" y1="29889" x2="74500" y2="29889"/>
                        <a14:foregroundMark x1="73000" y1="29889" x2="72167" y2="29889"/>
                        <a14:foregroundMark x1="70833" y1="30812" x2="70333" y2="31181"/>
                        <a14:foregroundMark x1="69333" y1="31734" x2="69333" y2="31734"/>
                        <a14:foregroundMark x1="69000" y1="32103" x2="69000" y2="32103"/>
                        <a14:foregroundMark x1="68667" y1="31919" x2="68667" y2="31919"/>
                        <a14:foregroundMark x1="68500" y1="31919" x2="68500" y2="31919"/>
                        <a14:foregroundMark x1="70167" y1="26384" x2="70667" y2="24539"/>
                        <a14:foregroundMark x1="70667" y1="24539" x2="70667" y2="24539"/>
                        <a14:foregroundMark x1="71000" y1="24170" x2="71000" y2="24170"/>
                        <a14:foregroundMark x1="71500" y1="23616" x2="72167" y2="22878"/>
                        <a14:foregroundMark x1="72833" y1="22325" x2="73833" y2="20480"/>
                        <a14:foregroundMark x1="74000" y1="20295" x2="74333" y2="19557"/>
                        <a14:foregroundMark x1="74500" y1="19188" x2="74500" y2="19188"/>
                        <a14:foregroundMark x1="75000" y1="19188" x2="74667" y2="20295"/>
                        <a14:foregroundMark x1="74500" y1="24539" x2="74500" y2="24539"/>
                        <a14:foregroundMark x1="75167" y1="24539" x2="75167" y2="24539"/>
                        <a14:foregroundMark x1="75833" y1="24723" x2="75833" y2="24723"/>
                        <a14:foregroundMark x1="76000" y1="25646" x2="76000" y2="26199"/>
                        <a14:foregroundMark x1="76000" y1="27306" x2="76000" y2="28044"/>
                        <a14:foregroundMark x1="75333" y1="30812" x2="75000" y2="32472"/>
                        <a14:foregroundMark x1="74500" y1="34686" x2="74500" y2="36347"/>
                        <a14:foregroundMark x1="74500" y1="37454" x2="74500" y2="38376"/>
                        <a14:foregroundMark x1="74500" y1="39668" x2="74500" y2="40590"/>
                        <a14:foregroundMark x1="74500" y1="41328" x2="74500" y2="41882"/>
                        <a14:foregroundMark x1="74500" y1="42620" x2="74667" y2="43542"/>
                        <a14:foregroundMark x1="74667" y1="43911" x2="74667" y2="44465"/>
                        <a14:foregroundMark x1="74667" y1="45018" x2="74667" y2="45018"/>
                        <a14:foregroundMark x1="75167" y1="45572" x2="75167" y2="46125"/>
                        <a14:foregroundMark x1="75167" y1="46863" x2="75000" y2="47417"/>
                        <a14:foregroundMark x1="74333" y1="47970" x2="74333" y2="47970"/>
                        <a14:foregroundMark x1="74167" y1="48708" x2="74167" y2="48708"/>
                        <a14:foregroundMark x1="73833" y1="49077" x2="73833" y2="49077"/>
                        <a14:foregroundMark x1="73500" y1="49446" x2="73500" y2="49446"/>
                        <a14:foregroundMark x1="72500" y1="49631" x2="72500" y2="49631"/>
                        <a14:foregroundMark x1="72333" y1="49815" x2="71167" y2="50369"/>
                        <a14:foregroundMark x1="69667" y1="50369" x2="68000" y2="50185"/>
                        <a14:foregroundMark x1="67500" y1="49815" x2="67500" y2="49815"/>
                        <a14:foregroundMark x1="66500" y1="49631" x2="66500" y2="49631"/>
                        <a14:foregroundMark x1="64833" y1="48893" x2="64833" y2="48893"/>
                        <a14:foregroundMark x1="63167" y1="47601" x2="63167" y2="47601"/>
                        <a14:foregroundMark x1="62333" y1="46310" x2="62333" y2="46310"/>
                        <a14:foregroundMark x1="61333" y1="45387" x2="61333" y2="45387"/>
                        <a14:foregroundMark x1="60167" y1="43911" x2="59167" y2="42804"/>
                        <a14:foregroundMark x1="58167" y1="42066" x2="55167" y2="40406"/>
                        <a14:foregroundMark x1="52500" y1="38561" x2="43833" y2="34871"/>
                        <a14:foregroundMark x1="42000" y1="34686" x2="37833" y2="35424"/>
                        <a14:foregroundMark x1="35500" y1="35978" x2="33333" y2="36347"/>
                        <a14:foregroundMark x1="32000" y1="36347" x2="30167" y2="36716"/>
                        <a14:foregroundMark x1="28667" y1="36900" x2="27167" y2="38007"/>
                        <a14:foregroundMark x1="26000" y1="38007" x2="24500" y2="38376"/>
                        <a14:foregroundMark x1="23333" y1="38007" x2="22167" y2="37269"/>
                        <a14:foregroundMark x1="20833" y1="36347" x2="19500" y2="36347"/>
                        <a14:foregroundMark x1="18167" y1="36347" x2="17667" y2="36347"/>
                        <a14:foregroundMark x1="17000" y1="36347" x2="16333" y2="36347"/>
                        <a14:foregroundMark x1="15500" y1="36162" x2="14500" y2="36162"/>
                        <a14:foregroundMark x1="13500" y1="35978" x2="13500" y2="35978"/>
                        <a14:foregroundMark x1="12167" y1="35240" x2="11667" y2="34686"/>
                        <a14:foregroundMark x1="11333" y1="33948" x2="10667" y2="33395"/>
                        <a14:foregroundMark x1="10333" y1="32841" x2="10333" y2="32841"/>
                        <a14:foregroundMark x1="9667" y1="32472" x2="8500" y2="32472"/>
                        <a14:foregroundMark x1="6333" y1="33026" x2="6167" y2="33948"/>
                        <a14:foregroundMark x1="67500" y1="93173" x2="67500" y2="93173"/>
                        <a14:foregroundMark x1="14667" y1="96310" x2="14667" y2="96310"/>
                        <a14:backgroundMark x1="73833" y1="50554" x2="73833" y2="50554"/>
                        <a14:backgroundMark x1="75333" y1="49262" x2="75333" y2="49262"/>
                        <a14:backgroundMark x1="4500" y1="41882" x2="4500" y2="41882"/>
                        <a14:backgroundMark x1="7167" y1="31734" x2="7167" y2="31734"/>
                        <a14:backgroundMark x1="17667" y1="35055" x2="17667" y2="35055"/>
                        <a14:backgroundMark x1="21167" y1="37823" x2="21167" y2="37823"/>
                        <a14:backgroundMark x1="14833" y1="32657" x2="14833" y2="32657"/>
                        <a14:backgroundMark x1="12500" y1="31181" x2="12500" y2="31181"/>
                        <a14:backgroundMark x1="10500" y1="31181" x2="10500" y2="31181"/>
                        <a14:backgroundMark x1="74500" y1="49262" x2="74500" y2="49262"/>
                        <a14:backgroundMark x1="72833" y1="50738" x2="72833" y2="50738"/>
                        <a14:backgroundMark x1="71833" y1="51476" x2="71833" y2="51476"/>
                        <a14:backgroundMark x1="71833" y1="51476" x2="72333" y2="51107"/>
                        <a14:backgroundMark x1="76833" y1="47048" x2="76833" y2="47048"/>
                        <a14:backgroundMark x1="5167" y1="33395" x2="5167" y2="33395"/>
                        <a14:backgroundMark x1="5667" y1="34317" x2="5667" y2="34317"/>
                        <a14:backgroundMark x1="5667" y1="34871" x2="5667" y2="34871"/>
                        <a14:backgroundMark x1="5333" y1="35240" x2="5333" y2="35240"/>
                        <a14:backgroundMark x1="4667" y1="35609" x2="4667" y2="35609"/>
                        <a14:backgroundMark x1="3833" y1="36347" x2="3833" y2="36347"/>
                        <a14:backgroundMark x1="5833" y1="33764" x2="5833" y2="33764"/>
                        <a14:backgroundMark x1="6500" y1="32657" x2="6500" y2="32657"/>
                        <a14:backgroundMark x1="6833" y1="32103" x2="6833" y2="32103"/>
                        <a14:backgroundMark x1="7333" y1="31365" x2="7333" y2="31365"/>
                        <a14:backgroundMark x1="7500" y1="31365" x2="7500" y2="31365"/>
                        <a14:backgroundMark x1="15333" y1="32657" x2="15333" y2="32657"/>
                        <a14:backgroundMark x1="16500" y1="32472" x2="16500" y2="32472"/>
                        <a14:backgroundMark x1="18500" y1="32841" x2="18500" y2="32841"/>
                        <a14:backgroundMark x1="19167" y1="33579" x2="19167" y2="33579"/>
                        <a14:backgroundMark x1="19667" y1="33764" x2="19667" y2="33764"/>
                        <a14:backgroundMark x1="20500" y1="34502" x2="20500" y2="34502"/>
                        <a14:backgroundMark x1="21333" y1="34686" x2="21333" y2="34686"/>
                        <a14:backgroundMark x1="21500" y1="34871" x2="21500" y2="34871"/>
                        <a14:backgroundMark x1="21833" y1="35978" x2="21833" y2="35978"/>
                        <a14:backgroundMark x1="22167" y1="35978" x2="22167" y2="35978"/>
                        <a14:backgroundMark x1="24667" y1="36162" x2="24667" y2="36162"/>
                        <a14:backgroundMark x1="25000" y1="36162" x2="25000" y2="36162"/>
                        <a14:backgroundMark x1="23333" y1="35240" x2="23333" y2="35240"/>
                        <a14:backgroundMark x1="24167" y1="34871" x2="24167" y2="34871"/>
                        <a14:backgroundMark x1="24667" y1="34686" x2="24667" y2="34686"/>
                        <a14:backgroundMark x1="25333" y1="34317" x2="25333" y2="34317"/>
                        <a14:backgroundMark x1="74333" y1="48524" x2="74333" y2="48524"/>
                        <a14:backgroundMark x1="74000" y1="49446" x2="74000" y2="49446"/>
                        <a14:backgroundMark x1="72333" y1="51107" x2="72833" y2="50923"/>
                        <a14:backgroundMark x1="75167" y1="49077" x2="75167" y2="49077"/>
                        <a14:backgroundMark x1="76500" y1="47601" x2="76500" y2="47601"/>
                        <a14:backgroundMark x1="77167" y1="46679" x2="77167" y2="46679"/>
                        <a14:backgroundMark x1="77333" y1="46310" x2="77333" y2="46310"/>
                      </a14:backgroundRemoval>
                    </a14:imgEffect>
                    <a14:imgEffect>
                      <a14:artisticPastelsSmooth/>
                    </a14:imgEffect>
                    <a14:imgEffect>
                      <a14:sharpenSoften amount="-12000"/>
                    </a14:imgEffect>
                    <a14:imgEffect>
                      <a14:colorTemperature colorTemp="4875"/>
                    </a14:imgEffect>
                    <a14:imgEffect>
                      <a14:brightnessContrast bright="35000" contras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5574" y="1196752"/>
            <a:ext cx="7968885" cy="539892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Группа 6"/>
          <p:cNvGrpSpPr/>
          <p:nvPr userDrawn="1"/>
        </p:nvGrpSpPr>
        <p:grpSpPr>
          <a:xfrm>
            <a:off x="0" y="-100524"/>
            <a:ext cx="12192000" cy="1003984"/>
            <a:chOff x="0" y="-100524"/>
            <a:chExt cx="9144000" cy="100398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0"/>
              <a:ext cx="9144000" cy="836712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6738" b="96809" l="2956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383" y="-100524"/>
              <a:ext cx="723091" cy="1003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1115616" y="0"/>
              <a:ext cx="0" cy="83671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562182" y="125968"/>
              <a:ext cx="71142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b="1" dirty="0">
                  <a:solidFill>
                    <a:prstClr val="white"/>
                  </a:solidFill>
                  <a:latin typeface="Calibri"/>
                  <a:cs typeface="+mn-cs"/>
                </a:rPr>
                <a:t>ОСНОВНЫЕ ДОСТИЖЕНИЯ ЛИПЕЦКОЙ ОБЛАСТИ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>
                  <a:solidFill>
                    <a:prstClr val="white"/>
                  </a:solidFill>
                  <a:latin typeface="Calibri"/>
                  <a:cs typeface="+mn-cs"/>
                </a:rPr>
                <a:t>ЦИФРЫ И ФАКТЫ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65153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bg>
      <p:bgPr>
        <a:gradFill flip="none" rotWithShape="1">
          <a:gsLst>
            <a:gs pos="0">
              <a:srgbClr val="B2D0EC"/>
            </a:gs>
            <a:gs pos="55000">
              <a:schemeClr val="bg1"/>
            </a:gs>
            <a:gs pos="100000">
              <a:srgbClr val="B2D0EC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 userDrawn="1"/>
        </p:nvGrpSpPr>
        <p:grpSpPr>
          <a:xfrm>
            <a:off x="0" y="-100524"/>
            <a:ext cx="12192000" cy="1003984"/>
            <a:chOff x="0" y="-100524"/>
            <a:chExt cx="9144000" cy="100398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0"/>
              <a:ext cx="9144000" cy="836712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6738" b="96809" l="2956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383" y="-100524"/>
              <a:ext cx="723091" cy="1003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1115616" y="0"/>
              <a:ext cx="0" cy="83671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3791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9190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2267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3122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831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9306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5270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9006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>
          <a:xfrm>
            <a:off x="250825" y="723900"/>
            <a:ext cx="11880000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78173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1175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1088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6666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1650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30000" y="6394452"/>
            <a:ext cx="374651" cy="276225"/>
          </a:xfrm>
          <a:prstGeom prst="rect">
            <a:avLst/>
          </a:prstGeom>
          <a:noFill/>
        </p:spPr>
        <p:txBody>
          <a:bodyPr wrap="none" lIns="91438" tIns="45719" rIns="91438" bIns="45719">
            <a:spAutoFit/>
          </a:bodyPr>
          <a:lstStyle>
            <a:defPPr>
              <a:defRPr lang="en-US"/>
            </a:defPPr>
            <a:lvl1pPr>
              <a:defRPr sz="1200" b="1" spc="2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 defTabSz="914377" fontAlgn="auto">
              <a:spcBef>
                <a:spcPts val="0"/>
              </a:spcBef>
              <a:spcAft>
                <a:spcPts val="0"/>
              </a:spcAft>
              <a:defRPr/>
            </a:pPr>
            <a:fld id="{3CC84685-EFA5-4A6F-A2A8-FDB9A0D0A014}" type="slidenum">
              <a:rPr lang="id-ID" smtClean="0">
                <a:solidFill>
                  <a:prstClr val="white"/>
                </a:solidFill>
              </a:rPr>
              <a:pPr algn="r" defTabSz="91437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472072"/>
          </a:xfrm>
          <a:solidFill>
            <a:srgbClr val="E1E9EA">
              <a:alpha val="70000"/>
            </a:srgbClr>
          </a:solidFill>
        </p:spPr>
        <p:txBody>
          <a:bodyPr rtlCol="0">
            <a:normAutofit/>
          </a:bodyPr>
          <a:lstStyle>
            <a:lvl1pPr>
              <a:defRPr lang="en-US" sz="19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265220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ft_Blank">
    <p:bg>
      <p:bgPr>
        <a:blipFill dpi="0" rotWithShape="1">
          <a:blip r:embed="rId2">
            <a:alphaModFix amt="30000"/>
            <a:duotone>
              <a:schemeClr val="accent6">
                <a:shade val="45000"/>
                <a:satMod val="135000"/>
              </a:schemeClr>
              <a:prstClr val="white"/>
            </a:duotone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colorTemperature colorTemp="4825"/>
                    </a14:imgEffect>
                    <a14:imgEffect>
                      <a14:saturation sat="13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250825" y="723900"/>
            <a:ext cx="11880000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-21273" y="6573732"/>
            <a:ext cx="3797835" cy="276999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r>
              <a:rPr lang="ru-RU" sz="1200" b="1" dirty="0">
                <a:solidFill>
                  <a:prstClr val="white">
                    <a:lumMod val="75000"/>
                  </a:prstClr>
                </a:solidFill>
                <a:latin typeface="Arial Narrow" panose="020B0606020202030204" pitchFamily="34" charset="0"/>
              </a:rPr>
              <a:t>Управление экономического развития Липецкой области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86025" y="27940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 b="1">
                <a:solidFill>
                  <a:schemeClr val="accent4"/>
                </a:solidFill>
                <a:latin typeface="Arial Narrow" panose="020B060602020203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srgbClr val="3857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316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748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863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4547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9634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22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413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8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Объект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Прямая соединительная линия 23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5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6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3077" name="Заголовок 1"/>
          <p:cNvSpPr>
            <a:spLocks noGrp="1"/>
          </p:cNvSpPr>
          <p:nvPr>
            <p:ph type="title"/>
          </p:nvPr>
        </p:nvSpPr>
        <p:spPr bwMode="auto">
          <a:xfrm>
            <a:off x="322263" y="117475"/>
            <a:ext cx="99234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</p:sldLayoutIdLst>
  <p:hf hdr="0" ftr="0" dt="0"/>
  <p:txStyles>
    <p:titleStyle>
      <a:lvl1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ru-RU" sz="2900" kern="1200">
          <a:solidFill>
            <a:srgbClr val="38572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2pPr>
      <a:lvl3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3pPr>
      <a:lvl4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4pPr>
      <a:lvl5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5pPr>
      <a:lvl6pPr marL="4572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6pPr>
      <a:lvl7pPr marL="9144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7pPr>
      <a:lvl8pPr marL="13716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8pPr>
      <a:lvl9pPr marL="18288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9pPr>
    </p:titleStyle>
    <p:bodyStyle>
      <a:lvl1pPr marL="303213" indent="-303213" algn="l" defTabSz="1217613" rtl="0" eaLnBrk="0" fontAlgn="base" hangingPunct="0">
        <a:lnSpc>
          <a:spcPct val="90000"/>
        </a:lnSpc>
        <a:spcBef>
          <a:spcPts val="1338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28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2613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42257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  <p:sldLayoutId id="214748419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chart" Target="../charts/chart1.xml"/><Relationship Id="rId7" Type="http://schemas.openxmlformats.org/officeDocument/2006/relationships/image" Target="../media/image6.png"/><Relationship Id="rId12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microsoft.com/office/2007/relationships/hdphoto" Target="../media/hdphoto4.wdp"/><Relationship Id="rId11" Type="http://schemas.openxmlformats.org/officeDocument/2006/relationships/image" Target="../media/image10.jpeg"/><Relationship Id="rId5" Type="http://schemas.openxmlformats.org/officeDocument/2006/relationships/image" Target="../media/image5.png"/><Relationship Id="rId10" Type="http://schemas.openxmlformats.org/officeDocument/2006/relationships/image" Target="../media/image9.jpeg"/><Relationship Id="rId4" Type="http://schemas.openxmlformats.org/officeDocument/2006/relationships/image" Target="../media/image4.png"/><Relationship Id="rId9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/>
          <p:nvPr/>
        </p:nvGraphicFramePr>
        <p:xfrm>
          <a:off x="-1876806" y="3612497"/>
          <a:ext cx="640214" cy="651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387625" y="1693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0</a:t>
            </a:fld>
            <a:endParaRPr lang="ru-RU"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29890D0-C4BD-494F-8756-FB85ACCA105C}"/>
              </a:ext>
            </a:extLst>
          </p:cNvPr>
          <p:cNvSpPr/>
          <p:nvPr/>
        </p:nvSpPr>
        <p:spPr>
          <a:xfrm>
            <a:off x="65781" y="96769"/>
            <a:ext cx="11865934" cy="43811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 Narrow" panose="020B0606020202030204" pitchFamily="34" charset="0"/>
              </a:rPr>
              <a:t>Гранты для социального бизнес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847A919-E1CA-4B29-B7F3-4393682B878A}"/>
              </a:ext>
            </a:extLst>
          </p:cNvPr>
          <p:cNvSpPr/>
          <p:nvPr/>
        </p:nvSpPr>
        <p:spPr>
          <a:xfrm>
            <a:off x="432706" y="816586"/>
            <a:ext cx="10923626" cy="69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rgbClr val="385723"/>
              </a:solidFill>
              <a:latin typeface="Arial Narrow" panose="020B0606020202030204" pitchFamily="34" charset="0"/>
            </a:endParaRPr>
          </a:p>
        </p:txBody>
      </p:sp>
      <p:pic>
        <p:nvPicPr>
          <p:cNvPr id="7" name="Picture 3" descr="J:\~ 08_Отдел мониторинга и комплексно-аналитической работы\Презентации\Трофимова\Для оформления\Иконки\PNG\PNG_icons_basic\icon_basic (102).png">
            <a:extLst>
              <a:ext uri="{FF2B5EF4-FFF2-40B4-BE49-F238E27FC236}">
                <a16:creationId xmlns:a16="http://schemas.microsoft.com/office/drawing/2014/main" id="{13E94BA2-7AE0-42F5-B857-4461EB018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563" y="1736822"/>
            <a:ext cx="609379" cy="519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56CFF31-7937-4084-BF90-4A795CA35B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>
                        <a14:foregroundMark x1="20799" y1="15673" x2="20799" y2="15673"/>
                        <a14:foregroundMark x1="10585" y1="31923" x2="10585" y2="31923"/>
                        <a14:foregroundMark x1="6871" y1="54423" x2="6871" y2="54423"/>
                        <a14:foregroundMark x1="11513" y1="72212" x2="11513" y2="72212"/>
                        <a14:foregroundMark x1="22748" y1="84808" x2="22748" y2="84808"/>
                        <a14:foregroundMark x1="34633" y1="92981" x2="34633" y2="92981"/>
                        <a14:foregroundMark x1="49768" y1="97404" x2="49768" y2="97404"/>
                        <a14:foregroundMark x1="65181" y1="94615" x2="65181" y2="94615"/>
                        <a14:foregroundMark x1="76137" y1="88173" x2="76137" y2="88173"/>
                        <a14:foregroundMark x1="83658" y1="81538" x2="83658" y2="81538"/>
                        <a14:foregroundMark x1="5622" y1="46888" x2="5622" y2="46888"/>
                        <a14:foregroundMark x1="13253" y1="26971" x2="13253" y2="26971"/>
                        <a14:foregroundMark x1="26506" y1="11618" x2="26506" y2="11618"/>
                        <a14:foregroundMark x1="38153" y1="6639" x2="38153" y2="6639"/>
                        <a14:foregroundMark x1="61847" y1="4564" x2="61847" y2="4564"/>
                        <a14:foregroundMark x1="71084" y1="7884" x2="71084" y2="7884"/>
                        <a14:foregroundMark x1="75904" y1="10373" x2="76305" y2="10788"/>
                        <a14:foregroundMark x1="83133" y1="18257" x2="83534" y2="18257"/>
                        <a14:foregroundMark x1="88353" y1="25726" x2="88755" y2="26141"/>
                        <a14:foregroundMark x1="94378" y1="38174" x2="94779" y2="38589"/>
                      </a14:backgroundRemoval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5" y="976214"/>
            <a:ext cx="622361" cy="60098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10F2774-A977-451B-859B-4BB81C82A206}"/>
              </a:ext>
            </a:extLst>
          </p:cNvPr>
          <p:cNvSpPr txBox="1"/>
          <p:nvPr/>
        </p:nvSpPr>
        <p:spPr>
          <a:xfrm>
            <a:off x="835668" y="1031955"/>
            <a:ext cx="5906349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умма поддержки </a:t>
            </a: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–  от 100 до 500 тыс. руб.</a:t>
            </a:r>
          </a:p>
          <a:p>
            <a:r>
              <a:rPr lang="ru-RU" sz="1400" i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BF00CB-731D-42CD-B17F-D1E0949BCE57}"/>
              </a:ext>
            </a:extLst>
          </p:cNvPr>
          <p:cNvSpPr txBox="1"/>
          <p:nvPr/>
        </p:nvSpPr>
        <p:spPr>
          <a:xfrm>
            <a:off x="936188" y="3033926"/>
            <a:ext cx="43057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Направления расходования:</a:t>
            </a:r>
            <a:endParaRPr lang="ru-RU" b="1" i="1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0F3B34D-28CA-4FED-AF86-18A4984E3F2A}"/>
              </a:ext>
            </a:extLst>
          </p:cNvPr>
          <p:cNvSpPr txBox="1"/>
          <p:nvPr/>
        </p:nvSpPr>
        <p:spPr>
          <a:xfrm>
            <a:off x="65781" y="5675319"/>
            <a:ext cx="22167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Аренда нежилых помещений</a:t>
            </a:r>
          </a:p>
        </p:txBody>
      </p:sp>
      <p:pic>
        <p:nvPicPr>
          <p:cNvPr id="40" name="Picture 20">
            <a:extLst>
              <a:ext uri="{FF2B5EF4-FFF2-40B4-BE49-F238E27FC236}">
                <a16:creationId xmlns:a16="http://schemas.microsoft.com/office/drawing/2014/main" id="{D73EC627-D3F6-48BB-93C4-8493F3DFE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43" y="2876136"/>
            <a:ext cx="843990" cy="80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AE0B800-6F00-4CCB-94ED-3949CBDBD34E}"/>
              </a:ext>
            </a:extLst>
          </p:cNvPr>
          <p:cNvSpPr txBox="1"/>
          <p:nvPr/>
        </p:nvSpPr>
        <p:spPr>
          <a:xfrm>
            <a:off x="880589" y="1628525"/>
            <a:ext cx="381499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Условия:</a:t>
            </a:r>
            <a:endParaRPr lang="ru-RU" sz="2400" b="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F45330-FA08-4147-B5E0-04AB2F8DBF00}"/>
              </a:ext>
            </a:extLst>
          </p:cNvPr>
          <p:cNvSpPr txBox="1"/>
          <p:nvPr/>
        </p:nvSpPr>
        <p:spPr>
          <a:xfrm>
            <a:off x="2428290" y="5683651"/>
            <a:ext cx="22167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Ремонт, приобретение строительных материалов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B97FDA0-FBA9-4F23-ABF5-C1369D43F0EE}"/>
              </a:ext>
            </a:extLst>
          </p:cNvPr>
          <p:cNvSpPr txBox="1"/>
          <p:nvPr/>
        </p:nvSpPr>
        <p:spPr>
          <a:xfrm>
            <a:off x="2971183" y="1711500"/>
            <a:ext cx="651492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внесение в реестр социальных предприятий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прохождение обучения (не позднее чем за год до получения гранта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осуществлять деятельность не менее 3-х лет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 err="1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офинансирование</a:t>
            </a: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 – 50% от расходов на реализацию проект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9C6381D-A8F2-4DE5-BA01-BF928E8C24AA}"/>
              </a:ext>
            </a:extLst>
          </p:cNvPr>
          <p:cNvSpPr txBox="1"/>
          <p:nvPr/>
        </p:nvSpPr>
        <p:spPr>
          <a:xfrm>
            <a:off x="5101754" y="5560902"/>
            <a:ext cx="221674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Приобретение  и аренда основных средств для реализации проект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9C54FA0-2E5D-4676-9C32-92838768D967}"/>
              </a:ext>
            </a:extLst>
          </p:cNvPr>
          <p:cNvSpPr txBox="1"/>
          <p:nvPr/>
        </p:nvSpPr>
        <p:spPr>
          <a:xfrm>
            <a:off x="9980073" y="5579749"/>
            <a:ext cx="22167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Оплата коммунальных услуг и услуг связ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B3FB7-4D34-48CE-9500-337A84D47DBE}"/>
              </a:ext>
            </a:extLst>
          </p:cNvPr>
          <p:cNvSpPr txBox="1"/>
          <p:nvPr/>
        </p:nvSpPr>
        <p:spPr>
          <a:xfrm>
            <a:off x="7562995" y="5579749"/>
            <a:ext cx="22167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Технологическое присоединение к инженерным сетям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63C1BE1-03B2-41E6-8139-08904ACE7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563" y="4018508"/>
            <a:ext cx="2141964" cy="151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18827533-A584-436C-80E8-38F9B40A1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8841" y="4018508"/>
            <a:ext cx="2216746" cy="151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0CA53961-C95F-4DF3-B8B1-140E0A723A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577" y="4005594"/>
            <a:ext cx="2083582" cy="1470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CF2B9ACB-F170-41B7-A408-8AE5B577EC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5980" y="4018508"/>
            <a:ext cx="2362135" cy="151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70E0B695-452A-4C22-8D92-8ADBEC6F9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073" y="4047232"/>
            <a:ext cx="2211927" cy="145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873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/>
          <p:nvPr/>
        </p:nvGraphicFramePr>
        <p:xfrm>
          <a:off x="-1876806" y="3612497"/>
          <a:ext cx="640214" cy="651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387625" y="1693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1</a:t>
            </a:fld>
            <a:endParaRPr lang="ru-RU"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29890D0-C4BD-494F-8756-FB85ACCA105C}"/>
              </a:ext>
            </a:extLst>
          </p:cNvPr>
          <p:cNvSpPr/>
          <p:nvPr/>
        </p:nvSpPr>
        <p:spPr>
          <a:xfrm>
            <a:off x="65781" y="96769"/>
            <a:ext cx="11865934" cy="43811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 Narrow" panose="020B0606020202030204" pitchFamily="34" charset="0"/>
              </a:rPr>
              <a:t>Реестр социальных предприятий (2021 г.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847A919-E1CA-4B29-B7F3-4393682B878A}"/>
              </a:ext>
            </a:extLst>
          </p:cNvPr>
          <p:cNvSpPr/>
          <p:nvPr/>
        </p:nvSpPr>
        <p:spPr>
          <a:xfrm>
            <a:off x="634187" y="1318944"/>
            <a:ext cx="10923626" cy="69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rgbClr val="385723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BE8907D-2246-492E-9166-92B1DC2B7242}"/>
              </a:ext>
            </a:extLst>
          </p:cNvPr>
          <p:cNvSpPr txBox="1"/>
          <p:nvPr/>
        </p:nvSpPr>
        <p:spPr>
          <a:xfrm>
            <a:off x="331246" y="705961"/>
            <a:ext cx="105657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До 1 мая 2021 года подача заявлений для признания субъекта МСП социальным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49CB281F-B0DC-49AB-A5FB-0320AA78CEB9}"/>
              </a:ext>
            </a:extLst>
          </p:cNvPr>
          <p:cNvSpPr/>
          <p:nvPr/>
        </p:nvSpPr>
        <p:spPr>
          <a:xfrm>
            <a:off x="331246" y="1340062"/>
            <a:ext cx="4437044" cy="18895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b="1" dirty="0">
              <a:solidFill>
                <a:srgbClr val="800000"/>
              </a:solidFill>
            </a:endParaRPr>
          </a:p>
          <a:p>
            <a:pPr algn="ctr"/>
            <a:r>
              <a:rPr lang="ru-RU" sz="2400" b="1" dirty="0">
                <a:solidFill>
                  <a:srgbClr val="385723"/>
                </a:solidFill>
                <a:latin typeface="Arial Narrow" panose="020B0606020202030204" pitchFamily="34" charset="0"/>
                <a:cs typeface="Arial" charset="0"/>
              </a:rPr>
              <a:t>Вы социальный предприниматель если: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не меньше половины сотрудников: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реализуете или производите товары для:</a:t>
            </a:r>
          </a:p>
          <a:p>
            <a:endParaRPr lang="ru-RU" sz="2400" b="1" dirty="0">
              <a:solidFill>
                <a:srgbClr val="800000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23" name="Стрелка: вправо 22">
            <a:extLst>
              <a:ext uri="{FF2B5EF4-FFF2-40B4-BE49-F238E27FC236}">
                <a16:creationId xmlns:a16="http://schemas.microsoft.com/office/drawing/2014/main" id="{C998C9F8-EBAE-466B-BBFF-EC2B4781BA3F}"/>
              </a:ext>
            </a:extLst>
          </p:cNvPr>
          <p:cNvSpPr/>
          <p:nvPr/>
        </p:nvSpPr>
        <p:spPr>
          <a:xfrm>
            <a:off x="5223795" y="1503295"/>
            <a:ext cx="621437" cy="488272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993300"/>
              </a:solidFill>
            </a:endParaRPr>
          </a:p>
        </p:txBody>
      </p:sp>
      <p:sp>
        <p:nvSpPr>
          <p:cNvPr id="24" name="Стрелка: вправо 23">
            <a:extLst>
              <a:ext uri="{FF2B5EF4-FFF2-40B4-BE49-F238E27FC236}">
                <a16:creationId xmlns:a16="http://schemas.microsoft.com/office/drawing/2014/main" id="{B4B7490F-B010-4433-9DB9-EEE309DB814F}"/>
              </a:ext>
            </a:extLst>
          </p:cNvPr>
          <p:cNvSpPr/>
          <p:nvPr/>
        </p:nvSpPr>
        <p:spPr>
          <a:xfrm>
            <a:off x="5223794" y="2456574"/>
            <a:ext cx="621437" cy="488272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230DD11-CB40-4C82-A3F5-D0FA52985FA8}"/>
              </a:ext>
            </a:extLst>
          </p:cNvPr>
          <p:cNvSpPr/>
          <p:nvPr/>
        </p:nvSpPr>
        <p:spPr>
          <a:xfrm>
            <a:off x="6163923" y="1358733"/>
            <a:ext cx="5885895" cy="18895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2400" b="1" dirty="0">
              <a:solidFill>
                <a:srgbClr val="800000"/>
              </a:solidFill>
            </a:endParaRPr>
          </a:p>
          <a:p>
            <a:r>
              <a:rPr lang="ru-RU" sz="2000" dirty="0">
                <a:solidFill>
                  <a:srgbClr val="800000"/>
                </a:solidFill>
              </a:rPr>
              <a:t>- </a:t>
            </a:r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лица с ограниченными возможностями здоровья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одинокие и многодетные родители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пенсионеры и люди предпенсионного возраста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выпускники детских домов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малоимущие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беженцы и вынужденные переселенцы</a:t>
            </a:r>
          </a:p>
          <a:p>
            <a:pPr lvl="0"/>
            <a:endParaRPr lang="ru-RU" sz="2000" dirty="0">
              <a:solidFill>
                <a:srgbClr val="800000"/>
              </a:solidFill>
            </a:endParaRPr>
          </a:p>
          <a:p>
            <a:pPr lvl="0"/>
            <a:r>
              <a:rPr lang="ru-RU" b="1" dirty="0">
                <a:solidFill>
                  <a:srgbClr val="800000"/>
                </a:solidFill>
                <a:latin typeface="Times New Roman" panose="02020603050405020304" pitchFamily="18" charset="0"/>
              </a:rPr>
              <a:t> 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72A7D9F-557D-40F5-BF3B-123075943E53}"/>
              </a:ext>
            </a:extLst>
          </p:cNvPr>
          <p:cNvSpPr/>
          <p:nvPr/>
        </p:nvSpPr>
        <p:spPr>
          <a:xfrm>
            <a:off x="7586164" y="3587335"/>
            <a:ext cx="473069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Финансовой, информационной, имущественной, методической поддержки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b="1" dirty="0">
              <a:solidFill>
                <a:schemeClr val="accent4">
                  <a:lumMod val="75000"/>
                </a:schemeClr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</a:rPr>
              <a:t>Содействия в развитии межрегионального сотрудничества, поиске деловых партнеров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b="1" dirty="0">
              <a:solidFill>
                <a:schemeClr val="accent4">
                  <a:lumMod val="75000"/>
                </a:schemeClr>
              </a:solidFill>
              <a:latin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</a:rPr>
              <a:t>Профессионального обучени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19C69CE-05FE-48A1-AAE3-69140AF99E10}"/>
              </a:ext>
            </a:extLst>
          </p:cNvPr>
          <p:cNvSpPr txBox="1"/>
          <p:nvPr/>
        </p:nvSpPr>
        <p:spPr>
          <a:xfrm>
            <a:off x="8026997" y="3263427"/>
            <a:ext cx="452642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ПОЛУЧАЕТЕ ВОЗМОЖНОСТЬ: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145725B0-0894-4449-891D-2F6544DFB607}"/>
              </a:ext>
            </a:extLst>
          </p:cNvPr>
          <p:cNvSpPr/>
          <p:nvPr/>
        </p:nvSpPr>
        <p:spPr>
          <a:xfrm>
            <a:off x="260283" y="3919623"/>
            <a:ext cx="6598087" cy="4012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Образование: </a:t>
            </a: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частные детские сады, кружки, </a:t>
            </a:r>
            <a:r>
              <a:rPr lang="ru-RU" dirty="0" err="1">
                <a:solidFill>
                  <a:schemeClr val="accent4">
                    <a:lumMod val="75000"/>
                  </a:schemeClr>
                </a:solidFill>
              </a:rPr>
              <a:t>доп.образование</a:t>
            </a:r>
            <a:endParaRPr lang="ru-RU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7D9123E-5D70-4DF1-8615-54720CCB9E0B}"/>
              </a:ext>
            </a:extLst>
          </p:cNvPr>
          <p:cNvSpPr/>
          <p:nvPr/>
        </p:nvSpPr>
        <p:spPr>
          <a:xfrm>
            <a:off x="260282" y="4590960"/>
            <a:ext cx="6598087" cy="4012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Поддержка материнства и детства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C5D902F-7E6A-4EF6-B74E-72D9CD1F3BBA}"/>
              </a:ext>
            </a:extLst>
          </p:cNvPr>
          <p:cNvSpPr/>
          <p:nvPr/>
        </p:nvSpPr>
        <p:spPr>
          <a:xfrm>
            <a:off x="260285" y="5128765"/>
            <a:ext cx="6598087" cy="5769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Социальная адаптация: </a:t>
            </a: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социально-медицинские, психолого-педагогические услуги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BC0D6507-F296-4EAE-9485-263DFB6976E8}"/>
              </a:ext>
            </a:extLst>
          </p:cNvPr>
          <p:cNvSpPr/>
          <p:nvPr/>
        </p:nvSpPr>
        <p:spPr>
          <a:xfrm>
            <a:off x="260285" y="5900431"/>
            <a:ext cx="6598087" cy="5769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Производство и (или) реализация медицинской техники, протезно-ортопедических изделий</a:t>
            </a:r>
            <a:endParaRPr lang="ru-RU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F652DB9-BD91-41C2-9421-FC5C1AB27558}"/>
              </a:ext>
            </a:extLst>
          </p:cNvPr>
          <p:cNvSpPr txBox="1"/>
          <p:nvPr/>
        </p:nvSpPr>
        <p:spPr>
          <a:xfrm>
            <a:off x="260282" y="3278107"/>
            <a:ext cx="74967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/>
                </a:solidFill>
                <a:latin typeface="Arial Narrow" panose="020B0606020202030204" pitchFamily="34" charset="0"/>
              </a:rPr>
              <a:t>СФЕРЫ ДЕЯТЕЛЬНОСТИ, СПОСОБСТВУЮЩИЕ РЕШЕНИЮ СОЦИАЛЬНЫХ ПРОБЛЕМ ОБЩЕСТВА ( не менее 50% в доходах):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8A60D9AF-16BE-4938-BE53-020C13337EC1}"/>
              </a:ext>
            </a:extLst>
          </p:cNvPr>
          <p:cNvSpPr/>
          <p:nvPr/>
        </p:nvSpPr>
        <p:spPr>
          <a:xfrm>
            <a:off x="7953995" y="5427147"/>
            <a:ext cx="25356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4"/>
                </a:solidFill>
                <a:cs typeface="Calibri" panose="020F0502020204030204" pitchFamily="34" charset="0"/>
              </a:rPr>
              <a:t>Единый сайт </a:t>
            </a:r>
            <a:r>
              <a:rPr lang="ru-RU" altLang="ru-RU" sz="1400" b="1" dirty="0">
                <a:solidFill>
                  <a:schemeClr val="accent4"/>
                </a:solidFill>
                <a:cs typeface="Calibri" panose="020F0502020204030204" pitchFamily="34" charset="0"/>
              </a:rPr>
              <a:t>мойбизнес48.рус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CCA565E-C515-45EC-B63B-E3DCA8383624}"/>
              </a:ext>
            </a:extLst>
          </p:cNvPr>
          <p:cNvSpPr/>
          <p:nvPr/>
        </p:nvSpPr>
        <p:spPr>
          <a:xfrm>
            <a:off x="7953995" y="5605857"/>
            <a:ext cx="3028586" cy="1169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400" dirty="0">
                <a:solidFill>
                  <a:schemeClr val="accent4"/>
                </a:solidFill>
                <a:cs typeface="Calibri" panose="020F0502020204030204" pitchFamily="34" charset="0"/>
              </a:rPr>
              <a:t>Call</a:t>
            </a:r>
            <a:r>
              <a:rPr lang="ru-RU" altLang="ru-RU" sz="1400" dirty="0">
                <a:solidFill>
                  <a:schemeClr val="accent4"/>
                </a:solidFill>
                <a:cs typeface="Calibri" panose="020F0502020204030204" pitchFamily="34" charset="0"/>
              </a:rPr>
              <a:t>-центр </a:t>
            </a:r>
            <a:r>
              <a:rPr lang="ru-RU" altLang="ru-RU" sz="1400" b="1" dirty="0">
                <a:solidFill>
                  <a:schemeClr val="accent4"/>
                </a:solidFill>
                <a:cs typeface="Calibri" panose="020F0502020204030204" pitchFamily="34" charset="0"/>
              </a:rPr>
              <a:t>8-800-301-76-75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4"/>
                </a:solidFill>
                <a:cs typeface="Calibri" panose="020F0502020204030204" pitchFamily="34" charset="0"/>
              </a:rPr>
              <a:t>Центр инноваций социальной сферы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4"/>
                </a:solidFill>
                <a:cs typeface="Calibri" panose="020F0502020204030204" pitchFamily="34" charset="0"/>
              </a:rPr>
              <a:t>Тел: +7 (4742) 37-13-82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 err="1">
                <a:solidFill>
                  <a:schemeClr val="accent4"/>
                </a:solidFill>
                <a:cs typeface="Calibri" panose="020F0502020204030204" pitchFamily="34" charset="0"/>
              </a:rPr>
              <a:t>г.Липецк</a:t>
            </a:r>
            <a:r>
              <a:rPr lang="ru-RU" altLang="ru-RU" sz="1400" dirty="0">
                <a:solidFill>
                  <a:schemeClr val="accent4"/>
                </a:solidFill>
                <a:cs typeface="Calibri" panose="020F0502020204030204" pitchFamily="34" charset="0"/>
              </a:rPr>
              <a:t>, </a:t>
            </a:r>
            <a:r>
              <a:rPr lang="ru-RU" altLang="ru-RU" sz="1400" dirty="0" err="1">
                <a:solidFill>
                  <a:schemeClr val="accent4"/>
                </a:solidFill>
                <a:cs typeface="Calibri" panose="020F0502020204030204" pitchFamily="34" charset="0"/>
              </a:rPr>
              <a:t>ул.Кузнечная</a:t>
            </a:r>
            <a:r>
              <a:rPr lang="ru-RU" altLang="ru-RU" sz="1400" dirty="0">
                <a:solidFill>
                  <a:schemeClr val="accent4"/>
                </a:solidFill>
                <a:cs typeface="Calibri" panose="020F0502020204030204" pitchFamily="34" charset="0"/>
              </a:rPr>
              <a:t>, д.8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4"/>
                </a:solidFill>
                <a:cs typeface="Calibri" panose="020F0502020204030204" pitchFamily="34" charset="0"/>
              </a:rPr>
              <a:t>Центр «Мой бизнес» </a:t>
            </a:r>
          </a:p>
        </p:txBody>
      </p:sp>
    </p:spTree>
    <p:extLst>
      <p:ext uri="{BB962C8B-B14F-4D97-AF65-F5344CB8AC3E}">
        <p14:creationId xmlns:p14="http://schemas.microsoft.com/office/powerpoint/2010/main" val="9681745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Другая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55A11"/>
      </a:accent1>
      <a:accent2>
        <a:srgbClr val="B41010"/>
      </a:accent2>
      <a:accent3>
        <a:srgbClr val="139884"/>
      </a:accent3>
      <a:accent4>
        <a:srgbClr val="385723"/>
      </a:accent4>
      <a:accent5>
        <a:srgbClr val="008000"/>
      </a:accent5>
      <a:accent6>
        <a:srgbClr val="A6D08A"/>
      </a:accent6>
      <a:hlink>
        <a:srgbClr val="375623"/>
      </a:hlink>
      <a:folHlink>
        <a:srgbClr val="375623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638</TotalTime>
  <Words>261</Words>
  <Application>Microsoft Office PowerPoint</Application>
  <PresentationFormat>Широкоэкранный</PresentationFormat>
  <Paragraphs>51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Arial</vt:lpstr>
      <vt:lpstr>Arial Narrow</vt:lpstr>
      <vt:lpstr>Calibri</vt:lpstr>
      <vt:lpstr>Calibri Light</vt:lpstr>
      <vt:lpstr>Times New Roman</vt:lpstr>
      <vt:lpstr>Wingdings</vt:lpstr>
      <vt:lpstr>57_Голубые тона</vt:lpstr>
      <vt:lpstr>Специальное оформление</vt:lpstr>
      <vt:lpstr>2_Тема Office</vt:lpstr>
      <vt:lpstr>think-cell Slide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ролёва Ирина Владимировна</dc:creator>
  <cp:lastModifiedBy>Светлана Леонова</cp:lastModifiedBy>
  <cp:revision>1098</cp:revision>
  <cp:lastPrinted>2021-03-01T14:09:48Z</cp:lastPrinted>
  <dcterms:created xsi:type="dcterms:W3CDTF">2019-02-08T11:57:28Z</dcterms:created>
  <dcterms:modified xsi:type="dcterms:W3CDTF">2021-03-01T15:53:14Z</dcterms:modified>
</cp:coreProperties>
</file>